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51B147E7-B7DF-4A7A-8D18-64C0EFCF06D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5649900127195673e-07</c:v>
                </c:pt>
                <c:pt idx="1">
                  <c:v>0.012518955279431492</c:v>
                </c:pt>
                <c:pt idx="2">
                  <c:v>0.026748528103130033</c:v>
                </c:pt>
                <c:pt idx="3">
                  <c:v>0.017738871908622212</c:v>
                </c:pt>
                <c:pt idx="4">
                  <c:v>0.038962499809080925</c:v>
                </c:pt>
                <c:pt idx="5">
                  <c:v>0.020097357381186686</c:v>
                </c:pt>
                <c:pt idx="6">
                  <c:v>4.067879968309561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414795047385217</c:v>
                </c:pt>
                <c:pt idx="4">
                  <c:v>0.07340172764031956</c:v>
                </c:pt>
                <c:pt idx="5">
                  <c:v>0.01527106411326292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5271064113262924</c:v>
                </c:pt>
                <c:pt idx="2">
                  <c:v>0.07340172764031956</c:v>
                </c:pt>
                <c:pt idx="3">
                  <c:v>0.02041479504738521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968898780611883e-07</c:v>
                </c:pt>
                <c:pt idx="1">
                  <c:v/>
                </c:pt>
                <c:pt idx="2">
                  <c:v/>
                </c:pt>
                <c:pt idx="3">
                  <c:v/>
                </c:pt>
                <c:pt idx="4">
                  <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7.148203296867518e-07</c:v>
                </c:pt>
                <c:pt idx="1">
                  <c:v/>
                </c:pt>
                <c:pt idx="2">
                  <c:v/>
                </c:pt>
                <c:pt idx="3">
                  <c:v/>
                </c:pt>
                <c:pt idx="4">
                  <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371210895374736</c:v>
                </c:pt>
                <c:pt idx="5">
                  <c:v>0.004369274925996972</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7720050625362799</c:v>
                </c:pt>
                <c:pt idx="5">
                  <c:v>0.006425403785250638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4254037852506385</c:v>
                </c:pt>
                <c:pt idx="2">
                  <c:v>0.007720050625362799</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5649900127195673e-07</c:v>
                </c:pt>
                <c:pt idx="1">
                  <c:v>0.012518955279431492</c:v>
                </c:pt>
                <c:pt idx="2">
                  <c:v>0.026748528103130033</c:v>
                </c:pt>
                <c:pt idx="3">
                  <c:v>0.017738871908622212</c:v>
                </c:pt>
                <c:pt idx="4">
                  <c:v>0.038962499809080925</c:v>
                </c:pt>
                <c:pt idx="5">
                  <c:v>0.020097357381186686</c:v>
                </c:pt>
                <c:pt idx="6">
                  <c:v>4.067879968309561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1204302097401005</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461470956453709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4614709564537092</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33206825432513</c:v>
                </c:pt>
                <c:pt idx="3">
                  <c:v>0.024515348950153868</c:v>
                </c:pt>
                <c:pt idx="4">
                  <c:v>0.0851797485150551</c:v>
                </c:pt>
                <c:pt idx="5">
                  <c:v>0.039611925288855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1204302097401005</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67055189224631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670551892246316</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882166374765753</c:v>
                </c:pt>
                <c:pt idx="4">
                  <c:v>0.009817937528781094</c:v>
                </c:pt>
                <c:pt idx="5">
                  <c:v>0.0088228869934453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6041463350669</c:v>
                </c:pt>
                <c:pt idx="3">
                  <c:v>0.033856581368870375</c:v>
                </c:pt>
                <c:pt idx="4">
                  <c:v>0.08502524402054405</c:v>
                </c:pt>
                <c:pt idx="5">
                  <c:v>0.0437399473023310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5626735540544363</c:v>
                </c:pt>
                <c:pt idx="4">
                  <c:v>0.013328920479123485</c:v>
                </c:pt>
                <c:pt idx="5">
                  <c:v>0.01369870668913677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698706689136779</c:v>
                </c:pt>
                <c:pt idx="2">
                  <c:v>0.013328920479123485</c:v>
                </c:pt>
                <c:pt idx="3">
                  <c:v>0.005626735540544363</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7153555707729703e-08</c:v>
                </c:pt>
                <c:pt idx="1">
                  <c:v>0.01081997685155103</c:v>
                </c:pt>
                <c:pt idx="2">
                  <c:v>0.0064019192653766085</c:v>
                </c:pt>
                <c:pt idx="3">
                  <c:v>0.004033184543276768</c:v>
                </c:pt>
                <c:pt idx="4">
                  <c:v>0.007857000075846162</c:v>
                </c:pt>
                <c:pt idx="5">
                  <c:v>0.0015649283216718202</c:v>
                </c:pt>
                <c:pt idx="6">
                  <c:v>1.046795737064205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2269923294306317</c:v>
                </c:pt>
                <c:pt idx="2">
                  <c:v>0.007993022488040152</c:v>
                </c:pt>
                <c:pt idx="3">
                  <c:v>0.0034426589528947196</c:v>
                </c:pt>
                <c:pt idx="4">
                  <c:v>0.01223501914523722</c:v>
                </c:pt>
                <c:pt idx="5">
                  <c:v>0.000746094280040894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7460942800408949</c:v>
                </c:pt>
                <c:pt idx="2">
                  <c:v>0.01223501914523722</c:v>
                </c:pt>
                <c:pt idx="3">
                  <c:v>0.0034426589528947196</c:v>
                </c:pt>
                <c:pt idx="4">
                  <c:v>0.007993022488040152</c:v>
                </c:pt>
                <c:pt idx="5">
                  <c:v>0.012269923294306317</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4373994730233104</c:v>
                </c:pt>
                <c:pt idx="2">
                  <c:v>0.08502524402054405</c:v>
                </c:pt>
                <c:pt idx="3">
                  <c:v>0.033856581368870375</c:v>
                </c:pt>
                <c:pt idx="4">
                  <c:v>0.0526041463350669</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076137648858728</c:v>
                </c:pt>
                <c:pt idx="3">
                  <c:v>0.0028464121465069</c:v>
                </c:pt>
                <c:pt idx="4">
                  <c:v>0.010516466768505726</c:v>
                </c:pt>
                <c:pt idx="5">
                  <c:v>0.005225430210834079</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518013580659397</c:v>
                </c:pt>
                <c:pt idx="3">
                  <c:v>0.004195062034680129</c:v>
                </c:pt>
                <c:pt idx="4">
                  <c:v>0.011005025621720703</c:v>
                </c:pt>
                <c:pt idx="5">
                  <c:v>0.00625549163789390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255491637893906</c:v>
                </c:pt>
                <c:pt idx="2">
                  <c:v>0.011005025621720703</c:v>
                </c:pt>
                <c:pt idx="3">
                  <c:v>0.004195062034680129</c:v>
                </c:pt>
                <c:pt idx="4">
                  <c:v>0.006518013580659397</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882166374765753</c:v>
                </c:pt>
                <c:pt idx="4">
                  <c:v>0.009817937528781094</c:v>
                </c:pt>
                <c:pt idx="5">
                  <c:v>0.00882288699344538</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866286091035014</c:v>
                </c:pt>
                <c:pt idx="4">
                  <c:v>0.010365959370372987</c:v>
                </c:pt>
                <c:pt idx="5">
                  <c:v>0.01085469456521121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0854694565211216</c:v>
                </c:pt>
                <c:pt idx="2">
                  <c:v>0.010365959370372987</c:v>
                </c:pt>
                <c:pt idx="3">
                  <c:v>0.002866286091035014</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318942391174119</c:v>
                </c:pt>
                <c:pt idx="2">
                  <c:v>0.055137933884248834</c:v>
                </c:pt>
                <c:pt idx="3">
                  <c:v>0.03473668652662813</c:v>
                </c:pt>
                <c:pt idx="4">
                  <c:v>0.06767013652507513</c:v>
                </c:pt>
                <c:pt idx="5">
                  <c:v>0.013478288425252933</c:v>
                </c:pt>
                <c:pt idx="6">
                  <c:v>9.01575789196777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7153555707729703e-08</c:v>
                </c:pt>
                <c:pt idx="1">
                  <c:v>0.01081997685155103</c:v>
                </c:pt>
                <c:pt idx="2">
                  <c:v>0.0064019192653766085</c:v>
                </c:pt>
                <c:pt idx="3">
                  <c:v>0.004033184543276768</c:v>
                </c:pt>
                <c:pt idx="4">
                  <c:v>0.007857000075846162</c:v>
                </c:pt>
                <c:pt idx="5">
                  <c:v>0.0015649283216718202</c:v>
                </c:pt>
                <c:pt idx="6">
                  <c:v>1.046795737064205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036248533548841e-07</c:v>
                </c:pt>
                <c:pt idx="1">
                  <c:v>0.01660967392666346</c:v>
                </c:pt>
                <c:pt idx="2">
                  <c:v>0.00820403978298163</c:v>
                </c:pt>
                <c:pt idx="3">
                  <c:v>0.0010193177824681543</c:v>
                </c:pt>
                <c:pt idx="4">
                  <c:v>0.01020270724266415</c:v>
                </c:pt>
                <c:pt idx="5">
                  <c:v>0.0021582049209028765</c:v>
                </c:pt>
                <c:pt idx="6">
                  <c:v>2.949527990903335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949527990903335e-05</c:v>
                </c:pt>
                <c:pt idx="1">
                  <c:v>0.0021582049209028765</c:v>
                </c:pt>
                <c:pt idx="2">
                  <c:v>0.01020270724266415</c:v>
                </c:pt>
                <c:pt idx="3">
                  <c:v>0.0010193177824681543</c:v>
                </c:pt>
                <c:pt idx="4">
                  <c:v>0.00820403978298163</c:v>
                </c:pt>
                <c:pt idx="5">
                  <c:v>0.01660967392666346</c:v>
                </c:pt>
                <c:pt idx="6">
                  <c:v>1.0036248533548841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076137648858728</c:v>
                </c:pt>
                <c:pt idx="3">
                  <c:v>0.0028464121465069</c:v>
                </c:pt>
                <c:pt idx="4">
                  <c:v>0.010516466768505726</c:v>
                </c:pt>
                <c:pt idx="5">
                  <c:v>0.005225430210834079</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9415630760324449</c:v>
                </c:pt>
                <c:pt idx="3">
                  <c:v>0.0023115914163032367</c:v>
                </c:pt>
                <c:pt idx="4">
                  <c:v>0.009671923930063551</c:v>
                </c:pt>
                <c:pt idx="5">
                  <c:v>0.00722472021451286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224720214512869</c:v>
                </c:pt>
                <c:pt idx="2">
                  <c:v>0.009671923930063551</c:v>
                </c:pt>
                <c:pt idx="3">
                  <c:v>0.0023115914163032367</c:v>
                </c:pt>
                <c:pt idx="4">
                  <c:v>0.009415630760324449</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77342565419012</c:v>
                </c:pt>
                <c:pt idx="4">
                  <c:v>0.010300632411353873</c:v>
                </c:pt>
                <c:pt idx="5">
                  <c:v>0.00508882052481531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6017364073535775</c:v>
                </c:pt>
                <c:pt idx="4">
                  <c:v>0.014254262822939325</c:v>
                </c:pt>
                <c:pt idx="5">
                  <c:v>0.00721266804693751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212668046937516</c:v>
                </c:pt>
                <c:pt idx="2">
                  <c:v>0.014254262822939325</c:v>
                </c:pt>
                <c:pt idx="3">
                  <c:v>0.006017364073535775</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1992025599639e-08</c:v>
                </c:pt>
                <c:pt idx="1">
                  <c:v>0.01136645505799227</c:v>
                </c:pt>
                <c:pt idx="2">
                  <c:v>0.006725257236051022</c:v>
                </c:pt>
                <c:pt idx="3">
                  <c:v>0.004236886222651477</c:v>
                </c:pt>
                <c:pt idx="4">
                  <c:v>0.00825382895712437</c:v>
                </c:pt>
                <c:pt idx="5">
                  <c:v>0.0016439672359106917</c:v>
                </c:pt>
                <c:pt idx="6">
                  <c:v>1.0996656336221799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121746185543237</c:v>
                </c:pt>
                <c:pt idx="2">
                  <c:v>0.00854792730383827</c:v>
                </c:pt>
                <c:pt idx="3">
                  <c:v>0.0036816609117870176</c:v>
                </c:pt>
                <c:pt idx="4">
                  <c:v>0.013084418862957645</c:v>
                </c:pt>
                <c:pt idx="5">
                  <c:v>0.000797890870085974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7978908700859749</c:v>
                </c:pt>
                <c:pt idx="2">
                  <c:v>0.013084418862957645</c:v>
                </c:pt>
                <c:pt idx="3">
                  <c:v>0.0036816609117870176</c:v>
                </c:pt>
                <c:pt idx="4">
                  <c:v>0.00854792730383827</c:v>
                </c:pt>
                <c:pt idx="5">
                  <c:v>0.013121746185543237</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5649900127195673e-07</c:v>
                </c:pt>
                <c:pt idx="1">
                  <c:v>0.012518955279431492</c:v>
                </c:pt>
                <c:pt idx="2">
                  <c:v>0.026748528103130033</c:v>
                </c:pt>
                <c:pt idx="3">
                  <c:v>0.017738871908622212</c:v>
                </c:pt>
                <c:pt idx="4">
                  <c:v>0.038962499809080925</c:v>
                </c:pt>
                <c:pt idx="5">
                  <c:v>0.020097357381186686</c:v>
                </c:pt>
                <c:pt idx="6">
                  <c:v>4.067879968309561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383021559055119</c:v>
                </c:pt>
                <c:pt idx="3">
                  <c:v>0.002990174210507312</c:v>
                </c:pt>
                <c:pt idx="4">
                  <c:v>0.011047615769709744</c:v>
                </c:pt>
                <c:pt idx="5">
                  <c:v>0.00548934794085132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970517890606894</c:v>
                </c:pt>
                <c:pt idx="3">
                  <c:v>0.004486298563677639</c:v>
                </c:pt>
                <c:pt idx="4">
                  <c:v>0.01176903469646207</c:v>
                </c:pt>
                <c:pt idx="5">
                  <c:v>0.00668977071570784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689770715707849</c:v>
                </c:pt>
                <c:pt idx="2">
                  <c:v>0.01176903469646207</c:v>
                </c:pt>
                <c:pt idx="3">
                  <c:v>0.004486298563677639</c:v>
                </c:pt>
                <c:pt idx="4">
                  <c:v>0.006970517890606894</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318942391174119</c:v>
                </c:pt>
                <c:pt idx="2">
                  <c:v>0.055137933884248834</c:v>
                </c:pt>
                <c:pt idx="3">
                  <c:v>0.03473668652662813</c:v>
                </c:pt>
                <c:pt idx="4">
                  <c:v>0.06767013652507513</c:v>
                </c:pt>
                <c:pt idx="5">
                  <c:v>0.013478288425252933</c:v>
                </c:pt>
                <c:pt idx="6">
                  <c:v>9.015757891967771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77342565419012</c:v>
                </c:pt>
                <c:pt idx="4">
                  <c:v>0.010300632411353873</c:v>
                </c:pt>
                <c:pt idx="5">
                  <c:v>0.00508882052481531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3027397924249747</c:v>
                </c:pt>
                <c:pt idx="4">
                  <c:v>0.010885058477386517</c:v>
                </c:pt>
                <c:pt idx="5">
                  <c:v>0.006500556347624684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5005563476246845</c:v>
                </c:pt>
                <c:pt idx="2">
                  <c:v>0.010885058477386517</c:v>
                </c:pt>
                <c:pt idx="3">
                  <c:v>0.00302739792424974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801992025599639e-08</c:v>
                </c:pt>
                <c:pt idx="1">
                  <c:v>0.01136645505799227</c:v>
                </c:pt>
                <c:pt idx="2">
                  <c:v>0.006725257236051022</c:v>
                </c:pt>
                <c:pt idx="3">
                  <c:v>0.004236886222651477</c:v>
                </c:pt>
                <c:pt idx="4">
                  <c:v>0.00825382895712437</c:v>
                </c:pt>
                <c:pt idx="5">
                  <c:v>0.0016439672359106917</c:v>
                </c:pt>
                <c:pt idx="6">
                  <c:v>1.0996656336221799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3883172631490734</c:v>
                </c:pt>
                <c:pt idx="2">
                  <c:v>0.0685733513406976</c:v>
                </c:pt>
                <c:pt idx="3">
                  <c:v>0.008519953373459404</c:v>
                </c:pt>
                <c:pt idx="4">
                  <c:v>0.08527918524100789</c:v>
                </c:pt>
                <c:pt idx="5">
                  <c:v>0.01803932553000234</c:v>
                </c:pt>
                <c:pt idx="6">
                  <c:v>0.000246535883003639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0600378682627869e-07</c:v>
                </c:pt>
                <c:pt idx="1">
                  <c:v>0.017543291482773286</c:v>
                </c:pt>
                <c:pt idx="2">
                  <c:v>0.008665182825658672</c:v>
                </c:pt>
                <c:pt idx="3">
                  <c:v>0.001076612885380411</c:v>
                </c:pt>
                <c:pt idx="4">
                  <c:v>0.010776193913363263</c:v>
                </c:pt>
                <c:pt idx="5">
                  <c:v>0.0022795160322909794</c:v>
                </c:pt>
                <c:pt idx="6">
                  <c:v>3.115318790090798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115318790090798e-05</c:v>
                </c:pt>
                <c:pt idx="1">
                  <c:v>0.0022795160322909794</c:v>
                </c:pt>
                <c:pt idx="2">
                  <c:v>0.010776193913363263</c:v>
                </c:pt>
                <c:pt idx="3">
                  <c:v>0.001076612885380411</c:v>
                </c:pt>
                <c:pt idx="4">
                  <c:v>0.008665182825658672</c:v>
                </c:pt>
                <c:pt idx="5">
                  <c:v>0.017543291482773286</c:v>
                </c:pt>
                <c:pt idx="6">
                  <c:v>1.0600378682627869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383021559055119</c:v>
                </c:pt>
                <c:pt idx="3">
                  <c:v>0.002990174210507312</c:v>
                </c:pt>
                <c:pt idx="4">
                  <c:v>0.011047615769709744</c:v>
                </c:pt>
                <c:pt idx="5">
                  <c:v>0.00548934794085132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9944876440793532</c:v>
                </c:pt>
                <c:pt idx="3">
                  <c:v>0.002441524269792252</c:v>
                </c:pt>
                <c:pt idx="4">
                  <c:v>0.010215575661117129</c:v>
                </c:pt>
                <c:pt idx="5">
                  <c:v>0.0076308164244705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63081642447054</c:v>
                </c:pt>
                <c:pt idx="2">
                  <c:v>0.010215575661117129</c:v>
                </c:pt>
                <c:pt idx="3">
                  <c:v>0.002441524269792252</c:v>
                </c:pt>
                <c:pt idx="4">
                  <c:v>0.009944876440793532</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24653588300363943</c:v>
                </c:pt>
                <c:pt idx="1">
                  <c:v>0.01803932553000234</c:v>
                </c:pt>
                <c:pt idx="2">
                  <c:v>0.08527918524100789</c:v>
                </c:pt>
                <c:pt idx="3">
                  <c:v>0.008519953373459404</c:v>
                </c:pt>
                <c:pt idx="4">
                  <c:v>0.0685733513406976</c:v>
                </c:pt>
                <c:pt idx="5">
                  <c:v>0.13883172631490734</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5649900127195673e-07</c:v>
                </c:pt>
                <c:pt idx="1">
                  <c:v>0.012518955279431492</c:v>
                </c:pt>
                <c:pt idx="2">
                  <c:v>0.026748528103130033</c:v>
                </c:pt>
                <c:pt idx="3">
                  <c:v>0.017738871908622212</c:v>
                </c:pt>
                <c:pt idx="4">
                  <c:v>0.038962499809080925</c:v>
                </c:pt>
                <c:pt idx="5">
                  <c:v>0.020097357381186686</c:v>
                </c:pt>
                <c:pt idx="6">
                  <c:v>4.067879968309561e-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233206825432513</c:v>
                </c:pt>
                <c:pt idx="3">
                  <c:v>0.024515348950153868</c:v>
                </c:pt>
                <c:pt idx="4">
                  <c:v>0.0851797485150551</c:v>
                </c:pt>
                <c:pt idx="5">
                  <c:v>0.0396119252888557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902539055901118</c:v>
                </c:pt>
                <c:pt idx="2">
                  <c:v>0.06450832288352</c:v>
                </c:pt>
                <c:pt idx="3">
                  <c:v>0.0277842525331899</c:v>
                </c:pt>
                <c:pt idx="4">
                  <c:v>0.09874369385147747</c:v>
                </c:pt>
                <c:pt idx="5">
                  <c:v>0.00602141315008691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787004175139863</c:v>
                </c:pt>
                <c:pt idx="3">
                  <c:v>0.01932140439824797</c:v>
                </c:pt>
                <c:pt idx="4">
                  <c:v>0.07178276387539519</c:v>
                </c:pt>
                <c:pt idx="5">
                  <c:v>0.05284718063657199</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5284718063657199</c:v>
                </c:pt>
                <c:pt idx="2">
                  <c:v>0.07178276387539519</c:v>
                </c:pt>
                <c:pt idx="3">
                  <c:v>0.01932140439824797</c:v>
                </c:pt>
                <c:pt idx="4">
                  <c:v>0.0787004175139863</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71709021879724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121250056018383</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121250056018383</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021413150086919</c:v>
                </c:pt>
                <c:pt idx="2">
                  <c:v>0.09874369385147747</c:v>
                </c:pt>
                <c:pt idx="3">
                  <c:v>0.0277842525331899</c:v>
                </c:pt>
                <c:pt idx="4">
                  <c:v>0.06450832288352</c:v>
                </c:pt>
                <c:pt idx="5">
                  <c:v>0.09902539055901118</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71709021879724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951882130535129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6976686502865876</c:v>
                </c:pt>
                <c:pt idx="1">
                  <c:v>0.0014491880932194254</c:v>
                </c:pt>
                <c:pt idx="2">
                  <c:v>0.004457696094131803</c:v>
                </c:pt>
                <c:pt idx="3">
                  <c:v>0.03027714526455764</c:v>
                </c:pt>
                <c:pt idx="4">
                  <c:v>0.8383955071465904</c:v>
                </c:pt>
                <c:pt idx="5">
                  <c:v>0.12472279475121416</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518821305351297</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110324760778144</c:v>
                </c:pt>
                <c:pt idx="4">
                  <c:v>0.06841718773242574</c:v>
                </c:pt>
                <c:pt idx="5">
                  <c:v>0.01604095453152696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36411951396942636</c:v>
                </c:pt>
                <c:pt idx="4">
                  <c:v>0.08625463222190179</c:v>
                </c:pt>
                <c:pt idx="5">
                  <c:v>0.02476004233039275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24760042330392758</c:v>
                </c:pt>
                <c:pt idx="2">
                  <c:v>0.08625463222190179</c:v>
                </c:pt>
                <c:pt idx="3">
                  <c:v>0.036411951396942636</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371210895374736</c:v>
                </c:pt>
                <c:pt idx="5">
                  <c:v>0.004369274925996972</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30402933460139136</c:v>
                </c:pt>
                <c:pt idx="5">
                  <c:v>0.005408745527176450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4087455271764505</c:v>
                </c:pt>
                <c:pt idx="2">
                  <c:v>0.0030402933460139136</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2978165829021947e-05</c:v>
                </c:pt>
                <c:pt idx="1">
                  <c:v>4.023559468749714e-05</c:v>
                </c:pt>
                <c:pt idx="2">
                  <c:v>0.00017169487072593259</c:v>
                </c:pt>
                <c:pt idx="3">
                  <c:v>0.001083814396798164</c:v>
                </c:pt>
                <c:pt idx="4">
                  <c:v>0.03151583487096663</c:v>
                </c:pt>
                <c:pt idx="5">
                  <c:v>0.0025778607955745034</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20110324760778144</c:v>
                </c:pt>
                <c:pt idx="4">
                  <c:v>0.06841718773242574</c:v>
                </c:pt>
                <c:pt idx="5">
                  <c:v>0.01604095453152696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2689448872220544e-05</c:v>
                </c:pt>
                <c:pt idx="1">
                  <c:v>4.713022311354536e-05</c:v>
                </c:pt>
                <c:pt idx="2">
                  <c:v>0.00014497235553604632</c:v>
                </c:pt>
                <c:pt idx="3">
                  <c:v>0.000984667634406077</c:v>
                </c:pt>
                <c:pt idx="4">
                  <c:v>0.027266141292557482</c:v>
                </c:pt>
                <c:pt idx="5">
                  <c:v>0.004056211316856032</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8934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7613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71688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91428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43900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28077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2722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3786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75994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05668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4092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49378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7366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5186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153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50820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55087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8512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684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6166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6355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14501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5493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666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825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